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4.bin" ContentType="application/vnd.openxmlformats-officedocument.oleObject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embeddings/oleObject5.bin" ContentType="application/vnd.openxmlformats-officedocument.oleObject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6.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7.bin" ContentType="application/vnd.openxmlformats-officedocument.oleObject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6" r:id="rId2"/>
    <p:sldMasterId id="2147483752" r:id="rId3"/>
  </p:sldMasterIdLst>
  <p:notesMasterIdLst>
    <p:notesMasterId r:id="rId16"/>
  </p:notesMasterIdLst>
  <p:sldIdLst>
    <p:sldId id="256" r:id="rId4"/>
    <p:sldId id="265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6" r:id="rId14"/>
    <p:sldId id="267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5" autoAdjust="0"/>
    <p:restoredTop sz="94584" autoAdjust="0"/>
  </p:normalViewPr>
  <p:slideViewPr>
    <p:cSldViewPr>
      <p:cViewPr varScale="1">
        <p:scale>
          <a:sx n="79" d="100"/>
          <a:sy n="79" d="100"/>
        </p:scale>
        <p:origin x="-456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notesMaster" Target="notesMasters/notesMaster1.xml"/><Relationship Id="rId17" Type="http://schemas.openxmlformats.org/officeDocument/2006/relationships/printerSettings" Target="printerSettings/printerSettings1.bin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86DF3-FC86-4118-8B56-294F7C20AA38}" type="datetimeFigureOut">
              <a:rPr lang="en-GB" smtClean="0"/>
              <a:t>28/05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BEE368-E155-43A3-8E7F-9488F8AB24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78776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8775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8972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1401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123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208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5051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6520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21354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6267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Verbalise they have 3 million channel subscribers</a:t>
            </a:r>
            <a:r>
              <a:rPr lang="en-GB" baseline="0" dirty="0" smtClean="0"/>
              <a:t> between them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58569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1163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BEE368-E155-43A3-8E7F-9488F8AB246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4439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jpe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e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0.jpe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jpe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jpe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jpe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4.jpe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5.jpeg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0.jpe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jpeg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6.jpe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7.jpeg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8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9.jpe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0.jpe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jpe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jpe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1.jpeg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2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3.jpeg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4.jpe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5.jpe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6.jpe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6.jpe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6.jpeg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7.jpe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8.jpe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9.jpe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0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1.jpe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1.jpe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1.jpe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Master" Target="../slideMasters/slideMaster3.xml"/><Relationship Id="rId5" Type="http://schemas.openxmlformats.org/officeDocument/2006/relationships/oleObject" Target="../embeddings/oleObject6.bin"/><Relationship Id="rId6" Type="http://schemas.openxmlformats.org/officeDocument/2006/relationships/image" Target="../media/image32.emf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5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6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7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8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9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0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1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2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3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5.jpe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6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7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8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9.jpe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0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1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1.jpeg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1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32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e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jpe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jpe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5.jpe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e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6.jpe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7.jpe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8.jpe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9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0.jpe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1.jpe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1.jpe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1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2.jpe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3.jpe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4.jpe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5.jpe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6.jpe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6.jpeg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7.jpe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8.jpe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9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0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1.jpeg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1.jpeg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1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32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jpe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jpeg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e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:\Users\Carolyn\Desktop\MY WORK\2-3\Pfizer\art\1_Home.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423909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0689621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6295267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edicin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7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389431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edic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94794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edicin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95153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edicin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8909189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119141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Value_s1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96480" y="1603747"/>
            <a:ext cx="15544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60799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429861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alu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169153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Va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17997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edicin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7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46288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61736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a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005831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6716606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Growth_s1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3608" y="1530349"/>
            <a:ext cx="192024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8323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737851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owth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024110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owth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507627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ow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7167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rowth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41901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0009460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edic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6197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apabilities_s1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74582" y="1439332"/>
            <a:ext cx="29260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71855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7069409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pabiliti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19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4590454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apabiliti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5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6117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21328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apabiliti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737936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5980237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ulture_s2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25507" y="1303867"/>
            <a:ext cx="182880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29737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7968617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ultur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132045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edicin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08597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ultur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6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5057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ltur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77453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ultu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0491478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405813" y="6511925"/>
            <a:ext cx="6953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800" i="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6028D0F8-BEC4-44C3-8AC8-CD52F783026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black">
          <a:xfrm>
            <a:off x="233726" y="287079"/>
            <a:ext cx="8676358" cy="7017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bIns="46800" anchor="ctr"/>
          <a:lstStyle/>
          <a:p>
            <a:pPr lvl="0"/>
            <a:r>
              <a:rPr lang="en-US" dirty="0" smtClean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2964192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3A495-2452-4973-846F-F3B8C3EFA871}" type="slidenum">
              <a:rPr lang="en-US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90505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375102" y="660397"/>
            <a:ext cx="8229600" cy="865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375101" y="1671578"/>
            <a:ext cx="8229600" cy="4571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8556792" y="6333133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fld id="{00000000-1234-1234-1234-123412341234}" type="slidenum">
              <a:rPr lang="en">
                <a:solidFill>
                  <a:srgbClr val="333336"/>
                </a:solidFill>
              </a:rPr>
              <a:pPr/>
              <a:t>‹#›</a:t>
            </a:fld>
            <a:endParaRPr lang="en">
              <a:solidFill>
                <a:srgbClr val="3333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75068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om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691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edicin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732177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053900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Value_s1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96480" y="1603747"/>
            <a:ext cx="15544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86162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216315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alu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6021732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Va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58889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3282" y="2301151"/>
            <a:ext cx="374904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3282" y="3293240"/>
            <a:ext cx="3749040" cy="30777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7418172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46132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a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317528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635561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Growth_s1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3608" y="1530349"/>
            <a:ext cx="192024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65189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3425948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owth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074351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owth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241478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ow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12258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rowth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6826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2088304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Titl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3120611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apabilities_s1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74582" y="1439332"/>
            <a:ext cx="29260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443847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139730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pabiliti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19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772553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apabiliti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5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84429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48256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apabiliti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672815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1180565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ulture_s2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25507" y="1303867"/>
            <a:ext cx="182880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81820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23695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ultur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0390625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 No Gra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0981206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ultur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6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996609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ltur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24172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ultu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9524025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405813" y="6511925"/>
            <a:ext cx="6953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800" i="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6028D0F8-BEC4-44C3-8AC8-CD52F783026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black">
          <a:xfrm>
            <a:off x="233726" y="287079"/>
            <a:ext cx="8676358" cy="7017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bIns="46800" anchor="ctr"/>
          <a:lstStyle/>
          <a:p>
            <a:pPr lvl="0"/>
            <a:r>
              <a:rPr lang="en-US" dirty="0" smtClean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2994050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3A495-2452-4973-846F-F3B8C3EFA871}" type="slidenum">
              <a:rPr lang="en-US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265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375102" y="660397"/>
            <a:ext cx="8229600" cy="865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375101" y="1671578"/>
            <a:ext cx="8229600" cy="4571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8556792" y="6333133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fld id="{00000000-1234-1234-1234-123412341234}" type="slidenum">
              <a:rPr lang="en">
                <a:solidFill>
                  <a:srgbClr val="333336"/>
                </a:solidFill>
              </a:rPr>
              <a:pPr/>
              <a:t>‹#›</a:t>
            </a:fld>
            <a:endParaRPr lang="en">
              <a:solidFill>
                <a:srgbClr val="3333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1041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:\Users\Carolyn\Desktop\MY WORK\2-3\Pfizer\art\1_Home.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695970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3282" y="2301151"/>
            <a:ext cx="374904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3282" y="3293240"/>
            <a:ext cx="3749040" cy="30777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5660786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Titl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13221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 No Gra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115941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om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76570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om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39105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om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9622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Hom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81668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654931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04356" y="965200"/>
            <a:ext cx="2523744" cy="768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70963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0179803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Medicin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7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9102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edicin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65355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edicin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91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Medicin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624658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om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52883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802775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Value_s1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396480" y="1603747"/>
            <a:ext cx="15544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136136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lu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Valu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7476599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Valu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031259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Valu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3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3189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8855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a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Value_s1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844551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7022743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Growth_s1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3608" y="1530349"/>
            <a:ext cx="192024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28947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wth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Growth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0748740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Hom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684040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rowth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5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84036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rowth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4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06377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Growth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59597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rowth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Growth_s1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0733350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782338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apabilities_s18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974582" y="1439332"/>
            <a:ext cx="292608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62173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bilities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apabiliti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079752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apabilities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19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057618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apabilities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5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00580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pabilitie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05817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896089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apabiliti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apabilities_s20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569267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860968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Culture_s2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25507" y="1303867"/>
            <a:ext cx="1828800" cy="79248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79485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ltur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Cultur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663118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ulture Title Slide N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714937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ultur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6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35078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ltur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891473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ultur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Culture_s24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056677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405813" y="6511925"/>
            <a:ext cx="69532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800" i="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fld id="{6028D0F8-BEC4-44C3-8AC8-CD52F783026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black">
          <a:xfrm>
            <a:off x="233726" y="287079"/>
            <a:ext cx="8676358" cy="7017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bIns="46800" anchor="ctr"/>
          <a:lstStyle/>
          <a:p>
            <a:pPr lvl="0"/>
            <a:r>
              <a:rPr lang="en-US" dirty="0" smtClean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0584197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3A495-2452-4973-846F-F3B8C3EFA871}" type="slidenum">
              <a:rPr lang="en-US">
                <a:solidFill>
                  <a:srgbClr val="616365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1636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059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04356" y="965200"/>
            <a:ext cx="2523744" cy="768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6193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375102" y="660397"/>
            <a:ext cx="8229600" cy="865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375101" y="1671578"/>
            <a:ext cx="8229600" cy="45715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sldNum" idx="12"/>
          </p:nvPr>
        </p:nvSpPr>
        <p:spPr>
          <a:xfrm>
            <a:off x="8556792" y="6333133"/>
            <a:ext cx="548699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>
            <a:lvl1pPr>
              <a:spcBef>
                <a:spcPts val="0"/>
              </a:spcBef>
              <a:buNone/>
              <a:defRPr/>
            </a:lvl1pPr>
          </a:lstStyle>
          <a:p>
            <a:fld id="{00000000-1234-1234-1234-123412341234}" type="slidenum">
              <a:rPr lang="en">
                <a:solidFill>
                  <a:srgbClr val="333336"/>
                </a:solidFill>
              </a:rPr>
              <a:pPr/>
              <a:t>‹#›</a:t>
            </a:fld>
            <a:endParaRPr lang="en">
              <a:solidFill>
                <a:srgbClr val="3333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4347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C:\Users\Carolyn\Desktop\MY WORK\2-3\Pfizer\art\1_Home.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2629991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53282" y="2301151"/>
            <a:ext cx="3749040" cy="1034129"/>
          </a:xfrm>
        </p:spPr>
        <p:txBody>
          <a:bodyPr anchor="b"/>
          <a:lstStyle>
            <a:lvl1pPr>
              <a:defRPr sz="3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53282" y="3293240"/>
            <a:ext cx="3749040" cy="30777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400" i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7485023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me Them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Icon_with_Image_Titl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4382957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Home Title Slide No Gra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arolyn\Desktop\MY WORK\2-3\Pfizer\art\1_Home.1_s0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1752" y="2273124"/>
            <a:ext cx="5029200" cy="1034129"/>
          </a:xfrm>
        </p:spPr>
        <p:txBody>
          <a:bodyPr anchor="b"/>
          <a:lstStyle>
            <a:lvl1pPr>
              <a:defRPr sz="3400" b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edit </a:t>
            </a:r>
            <a:r>
              <a:rPr lang="en-US" dirty="0"/>
              <a:t>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1752" y="3363305"/>
            <a:ext cx="5029200" cy="369332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FontTx/>
              <a:buNone/>
              <a:defRPr sz="1800" i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5119549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ome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20403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om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32454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Hom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246935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hem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Carolyn\Desktop\MY WORK\2-3\Pfizer\art\1_Medicines_s06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5845335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cine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C:\Users\Carolyn\Desktop\MY WORK\2-3\Pfizer\art\1_Medicines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404356" y="965200"/>
            <a:ext cx="2523744" cy="768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b">
            <a:noAutofit/>
          </a:bodyPr>
          <a:lstStyle>
            <a:lvl1pPr marL="0" marR="0" indent="0" algn="l" defTabSz="815975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3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95023"/>
      </p:ext>
    </p:extLst>
  </p:cSld>
  <p:clrMapOvr>
    <a:masterClrMapping/>
  </p:clrMapOvr>
  <p:transition xmlns:p14="http://schemas.microsoft.com/office/powerpoint/2010/main"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46" Type="http://schemas.openxmlformats.org/officeDocument/2006/relationships/theme" Target="../theme/theme1.xml"/><Relationship Id="rId47" Type="http://schemas.openxmlformats.org/officeDocument/2006/relationships/vmlDrawing" Target="../drawings/vmlDrawing1.vml"/><Relationship Id="rId48" Type="http://schemas.openxmlformats.org/officeDocument/2006/relationships/tags" Target="../tags/tag1.xml"/><Relationship Id="rId49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50" Type="http://schemas.openxmlformats.org/officeDocument/2006/relationships/image" Target="../media/image1.emf"/><Relationship Id="rId51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/Relationships>
</file>

<file path=ppt/slideMasters/_rels/slideMaster2.xml.rels><?xml version="1.0" encoding="UTF-8" standalone="yes"?>
<Relationships xmlns="http://schemas.openxmlformats.org/package/2006/relationships"><Relationship Id="rId46" Type="http://schemas.openxmlformats.org/officeDocument/2006/relationships/theme" Target="../theme/theme2.xml"/><Relationship Id="rId47" Type="http://schemas.openxmlformats.org/officeDocument/2006/relationships/vmlDrawing" Target="../drawings/vmlDrawing3.vml"/><Relationship Id="rId48" Type="http://schemas.openxmlformats.org/officeDocument/2006/relationships/tags" Target="../tags/tag4.xml"/><Relationship Id="rId49" Type="http://schemas.openxmlformats.org/officeDocument/2006/relationships/oleObject" Target="../embeddings/oleObject3.bin"/><Relationship Id="rId20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74.xml"/><Relationship Id="rId50" Type="http://schemas.openxmlformats.org/officeDocument/2006/relationships/image" Target="../media/image1.emf"/><Relationship Id="rId51" Type="http://schemas.openxmlformats.org/officeDocument/2006/relationships/image" Target="../media/image2.jpeg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77.xml"/><Relationship Id="rId9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2.xml"/><Relationship Id="rId8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79.xml"/><Relationship Id="rId35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64.xml"/><Relationship Id="rId37" Type="http://schemas.openxmlformats.org/officeDocument/2006/relationships/slideLayout" Target="../slideLayouts/slideLayout82.xml"/><Relationship Id="rId38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5.xml"/><Relationship Id="rId41" Type="http://schemas.openxmlformats.org/officeDocument/2006/relationships/slideLayout" Target="../slideLayouts/slideLayout86.xml"/><Relationship Id="rId42" Type="http://schemas.openxmlformats.org/officeDocument/2006/relationships/slideLayout" Target="../slideLayouts/slideLayout87.xml"/><Relationship Id="rId43" Type="http://schemas.openxmlformats.org/officeDocument/2006/relationships/slideLayout" Target="../slideLayouts/slideLayout88.xml"/><Relationship Id="rId44" Type="http://schemas.openxmlformats.org/officeDocument/2006/relationships/slideLayout" Target="../slideLayouts/slideLayout89.xml"/><Relationship Id="rId45" Type="http://schemas.openxmlformats.org/officeDocument/2006/relationships/slideLayout" Target="../slideLayouts/slideLayout90.xml"/></Relationships>
</file>

<file path=ppt/slideMasters/_rels/slideMaster3.xml.rels><?xml version="1.0" encoding="UTF-8" standalone="yes"?>
<Relationships xmlns="http://schemas.openxmlformats.org/package/2006/relationships"><Relationship Id="rId46" Type="http://schemas.openxmlformats.org/officeDocument/2006/relationships/slideLayout" Target="../slideLayouts/slideLayout136.xml"/><Relationship Id="rId47" Type="http://schemas.openxmlformats.org/officeDocument/2006/relationships/theme" Target="../theme/theme3.xml"/><Relationship Id="rId48" Type="http://schemas.openxmlformats.org/officeDocument/2006/relationships/vmlDrawing" Target="../drawings/vmlDrawing5.vml"/><Relationship Id="rId49" Type="http://schemas.openxmlformats.org/officeDocument/2006/relationships/tags" Target="../tags/tag7.xml"/><Relationship Id="rId20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19.xml"/><Relationship Id="rId50" Type="http://schemas.openxmlformats.org/officeDocument/2006/relationships/oleObject" Target="../embeddings/oleObject5.bin"/><Relationship Id="rId51" Type="http://schemas.openxmlformats.org/officeDocument/2006/relationships/image" Target="../media/image1.emf"/><Relationship Id="rId52" Type="http://schemas.openxmlformats.org/officeDocument/2006/relationships/image" Target="../media/image2.jpeg"/><Relationship Id="rId1" Type="http://schemas.openxmlformats.org/officeDocument/2006/relationships/slideLayout" Target="../slideLayouts/slideLayout91.xml"/><Relationship Id="rId2" Type="http://schemas.openxmlformats.org/officeDocument/2006/relationships/slideLayout" Target="../slideLayouts/slideLayout92.xml"/><Relationship Id="rId3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99.xml"/><Relationship Id="rId6" Type="http://schemas.openxmlformats.org/officeDocument/2006/relationships/slideLayout" Target="../slideLayouts/slideLayout96.xml"/><Relationship Id="rId7" Type="http://schemas.openxmlformats.org/officeDocument/2006/relationships/slideLayout" Target="../slideLayouts/slideLayout97.xml"/><Relationship Id="rId8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29.xml"/><Relationship Id="rId4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33.xml"/><Relationship Id="rId44" Type="http://schemas.openxmlformats.org/officeDocument/2006/relationships/slideLayout" Target="../slideLayouts/slideLayout134.xml"/><Relationship Id="rId45" Type="http://schemas.openxmlformats.org/officeDocument/2006/relationships/slideLayout" Target="../slideLayouts/slideLayout1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372053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9" imgW="315" imgH="318" progId="TCLayout.ActiveDocument.1">
                  <p:embed/>
                </p:oleObj>
              </mc:Choice>
              <mc:Fallback>
                <p:oleObj name="think-cell Slide" r:id="rId49" imgW="315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1" descr="C:\Users\Carolyn\Desktop\MY WORK\2-3\Pfizer\art\1_Home.1_s04.jpg"/>
          <p:cNvPicPr>
            <a:picLocks noChangeAspect="1" noChangeArrowheads="1"/>
          </p:cNvPicPr>
          <p:nvPr/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88938"/>
            <a:ext cx="8458200" cy="481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409700"/>
            <a:ext cx="8458200" cy="1609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8079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</p:sldLayoutIdLst>
  <p:transition xmlns:p14="http://schemas.microsoft.com/office/powerpoint/2010/main" spd="med">
    <p:fade/>
  </p:transition>
  <p:hf sldNum="0" hdr="0" dt="0"/>
  <p:txStyles>
    <p:titleStyle>
      <a:lvl1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2pPr>
      <a:lvl3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3pPr>
      <a:lvl4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4pPr>
      <a:lvl5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5pPr>
      <a:lvl6pPr marL="4572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6pPr>
      <a:lvl7pPr marL="9144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7pPr>
      <a:lvl8pPr marL="13716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8pPr>
      <a:lvl9pPr marL="18288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9pPr>
    </p:titleStyle>
    <p:bodyStyle>
      <a:lvl1pPr marL="168275" indent="-168275" algn="l" defTabSz="815975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46075" indent="-109538" algn="l" defTabSz="815975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Calibri" pitchFamily="34" charset="0"/>
        <a:buChar char="‐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69863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746125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5017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19589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4161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28733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297744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49" imgW="315" imgH="318" progId="TCLayout.ActiveDocument.1">
                  <p:embed/>
                </p:oleObj>
              </mc:Choice>
              <mc:Fallback>
                <p:oleObj name="think-cell Slide" r:id="rId49" imgW="315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1" descr="C:\Users\Carolyn\Desktop\MY WORK\2-3\Pfizer\art\1_Home.1_s04.jpg"/>
          <p:cNvPicPr>
            <a:picLocks noChangeAspect="1" noChangeArrowheads="1"/>
          </p:cNvPicPr>
          <p:nvPr/>
        </p:nvPicPr>
        <p:blipFill>
          <a:blip r:embed="rId51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88938"/>
            <a:ext cx="8458200" cy="481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409700"/>
            <a:ext cx="8458200" cy="1609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7335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  <p:sldLayoutId id="2147483745" r:id="rId39"/>
    <p:sldLayoutId id="2147483746" r:id="rId40"/>
    <p:sldLayoutId id="2147483747" r:id="rId41"/>
    <p:sldLayoutId id="2147483748" r:id="rId42"/>
    <p:sldLayoutId id="2147483749" r:id="rId43"/>
    <p:sldLayoutId id="2147483750" r:id="rId44"/>
    <p:sldLayoutId id="2147483751" r:id="rId45"/>
  </p:sldLayoutIdLst>
  <p:transition xmlns:p14="http://schemas.microsoft.com/office/powerpoint/2010/main" spd="med">
    <p:fade/>
  </p:transition>
  <p:hf sldNum="0" hdr="0" dt="0"/>
  <p:txStyles>
    <p:titleStyle>
      <a:lvl1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2pPr>
      <a:lvl3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3pPr>
      <a:lvl4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4pPr>
      <a:lvl5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5pPr>
      <a:lvl6pPr marL="4572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6pPr>
      <a:lvl7pPr marL="9144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7pPr>
      <a:lvl8pPr marL="13716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8pPr>
      <a:lvl9pPr marL="18288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9pPr>
    </p:titleStyle>
    <p:bodyStyle>
      <a:lvl1pPr marL="168275" indent="-168275" algn="l" defTabSz="815975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46075" indent="-109538" algn="l" defTabSz="815975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Calibri" pitchFamily="34" charset="0"/>
        <a:buChar char="‐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69863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746125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5017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19589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4161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28733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14109400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50" imgW="315" imgH="318" progId="TCLayout.ActiveDocument.1">
                  <p:embed/>
                </p:oleObj>
              </mc:Choice>
              <mc:Fallback>
                <p:oleObj name="think-cell Slide" r:id="rId50" imgW="315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1" descr="C:\Users\Carolyn\Desktop\MY WORK\2-3\Pfizer\art\1_Home.1_s04.jpg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42900" y="388938"/>
            <a:ext cx="8458200" cy="4810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2900" y="1409700"/>
            <a:ext cx="8458200" cy="1609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0265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  <p:sldLayoutId id="2147483781" r:id="rId29"/>
    <p:sldLayoutId id="2147483782" r:id="rId30"/>
    <p:sldLayoutId id="2147483783" r:id="rId31"/>
    <p:sldLayoutId id="2147483784" r:id="rId32"/>
    <p:sldLayoutId id="2147483785" r:id="rId33"/>
    <p:sldLayoutId id="2147483786" r:id="rId34"/>
    <p:sldLayoutId id="2147483787" r:id="rId35"/>
    <p:sldLayoutId id="2147483788" r:id="rId36"/>
    <p:sldLayoutId id="2147483789" r:id="rId37"/>
    <p:sldLayoutId id="2147483790" r:id="rId38"/>
    <p:sldLayoutId id="2147483791" r:id="rId39"/>
    <p:sldLayoutId id="2147483792" r:id="rId40"/>
    <p:sldLayoutId id="2147483793" r:id="rId41"/>
    <p:sldLayoutId id="2147483794" r:id="rId42"/>
    <p:sldLayoutId id="2147483795" r:id="rId43"/>
    <p:sldLayoutId id="2147483796" r:id="rId44"/>
    <p:sldLayoutId id="2147483797" r:id="rId45"/>
    <p:sldLayoutId id="2147483798" r:id="rId46"/>
  </p:sldLayoutIdLst>
  <p:transition xmlns:p14="http://schemas.microsoft.com/office/powerpoint/2010/main" spd="med">
    <p:fade/>
  </p:transition>
  <p:hf sldNum="0" hdr="0" dt="0"/>
  <p:txStyles>
    <p:titleStyle>
      <a:lvl1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2pPr>
      <a:lvl3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3pPr>
      <a:lvl4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4pPr>
      <a:lvl5pPr algn="l" defTabSz="815975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5pPr>
      <a:lvl6pPr marL="4572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6pPr>
      <a:lvl7pPr marL="9144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7pPr>
      <a:lvl8pPr marL="13716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8pPr>
      <a:lvl9pPr marL="1828800" algn="l" defTabSz="815975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charset="0"/>
          <a:ea typeface="ヒラギノ角ゴ Pro W3" pitchFamily="96" charset="-128"/>
          <a:cs typeface="Arial" charset="0"/>
        </a:defRPr>
      </a:lvl9pPr>
    </p:titleStyle>
    <p:bodyStyle>
      <a:lvl1pPr marL="168275" indent="-168275" algn="l" defTabSz="815975" rtl="0" eaLnBrk="0" fontAlgn="base" hangingPunct="0">
        <a:lnSpc>
          <a:spcPct val="90000"/>
        </a:lnSpc>
        <a:spcBef>
          <a:spcPct val="75000"/>
        </a:spcBef>
        <a:spcAft>
          <a:spcPct val="0"/>
        </a:spcAft>
        <a:buClr>
          <a:schemeClr val="accent1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346075" indent="-109538" algn="l" defTabSz="815975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Calibri" pitchFamily="34" charset="0"/>
        <a:buChar char="‐"/>
        <a:defRPr sz="2000">
          <a:solidFill>
            <a:schemeClr val="tx1"/>
          </a:solidFill>
          <a:latin typeface="+mn-lt"/>
          <a:ea typeface="+mn-ea"/>
          <a:cs typeface="+mn-cs"/>
        </a:defRPr>
      </a:lvl2pPr>
      <a:lvl3pPr marL="571500" indent="-169863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746125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­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15888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5pPr>
      <a:lvl6pPr marL="15017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19589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24161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2873375" indent="-203200" algn="l" defTabSz="815975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4" Type="http://schemas.openxmlformats.org/officeDocument/2006/relationships/image" Target="../media/image34.png"/><Relationship Id="rId5" Type="http://schemas.openxmlformats.org/officeDocument/2006/relationships/image" Target="../media/image35.png"/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7.bin"/><Relationship Id="rId6" Type="http://schemas.openxmlformats.org/officeDocument/2006/relationships/image" Target="../media/image1.emf"/><Relationship Id="rId7" Type="http://schemas.openxmlformats.org/officeDocument/2006/relationships/image" Target="../media/image36.png"/><Relationship Id="rId1" Type="http://schemas.openxmlformats.org/officeDocument/2006/relationships/vmlDrawing" Target="../drawings/vmlDrawing7.vml"/><Relationship Id="rId2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png"/><Relationship Id="rId6" Type="http://schemas.openxmlformats.org/officeDocument/2006/relationships/image" Target="../media/image40.png"/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1" Type="http://schemas.openxmlformats.org/officeDocument/2006/relationships/slideLayout" Target="../slideLayouts/slideLayout79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4" Type="http://schemas.openxmlformats.org/officeDocument/2006/relationships/image" Target="../media/image44.png"/><Relationship Id="rId5" Type="http://schemas.openxmlformats.org/officeDocument/2006/relationships/image" Target="../media/image45.png"/><Relationship Id="rId6" Type="http://schemas.openxmlformats.org/officeDocument/2006/relationships/image" Target="../media/image46.png"/><Relationship Id="rId7" Type="http://schemas.openxmlformats.org/officeDocument/2006/relationships/image" Target="../media/image47.png"/><Relationship Id="rId8" Type="http://schemas.openxmlformats.org/officeDocument/2006/relationships/image" Target="../media/image48.png"/><Relationship Id="rId9" Type="http://schemas.openxmlformats.org/officeDocument/2006/relationships/image" Target="../media/image49.png"/><Relationship Id="rId10" Type="http://schemas.openxmlformats.org/officeDocument/2006/relationships/image" Target="../media/image50.png"/><Relationship Id="rId1" Type="http://schemas.openxmlformats.org/officeDocument/2006/relationships/slideLayout" Target="../slideLayouts/slideLayout79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openxmlformats.org/officeDocument/2006/relationships/image" Target="../media/image52.png"/><Relationship Id="rId1" Type="http://schemas.openxmlformats.org/officeDocument/2006/relationships/slideLayout" Target="../slideLayouts/slideLayout124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9.png"/><Relationship Id="rId5" Type="http://schemas.openxmlformats.org/officeDocument/2006/relationships/hyperlink" Target="http://www.youtube.com/pfizeruk" TargetMode="External"/><Relationship Id="rId1" Type="http://schemas.openxmlformats.org/officeDocument/2006/relationships/slideLayout" Target="../slideLayouts/slideLayout124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idx="4294967295"/>
          </p:nvPr>
        </p:nvSpPr>
        <p:spPr>
          <a:xfrm>
            <a:off x="539552" y="1916832"/>
            <a:ext cx="8172400" cy="1728018"/>
          </a:xfrm>
        </p:spPr>
        <p:txBody>
          <a:bodyPr>
            <a:noAutofit/>
          </a:bodyPr>
          <a:lstStyle/>
          <a:p>
            <a:pPr algn="ctr"/>
            <a:r>
              <a:rPr lang="en-GB" sz="3600" dirty="0">
                <a:solidFill>
                  <a:schemeClr val="tx1"/>
                </a:solidFill>
              </a:rPr>
              <a:t/>
            </a:r>
            <a:br>
              <a:rPr lang="en-GB" sz="3600" dirty="0">
                <a:solidFill>
                  <a:schemeClr val="tx1"/>
                </a:solidFill>
              </a:rPr>
            </a:br>
            <a:r>
              <a:rPr lang="en-GB" sz="3600" dirty="0">
                <a:solidFill>
                  <a:schemeClr val="tx1"/>
                </a:solidFill>
              </a:rPr>
              <a:t> </a:t>
            </a:r>
            <a:r>
              <a:rPr lang="en-GB" sz="3600" b="1" dirty="0">
                <a:solidFill>
                  <a:schemeClr val="tx1"/>
                </a:solidFill>
              </a:rPr>
              <a:t>Smoking </a:t>
            </a:r>
            <a:r>
              <a:rPr lang="en-GB" sz="3600" b="1" dirty="0" smtClean="0">
                <a:solidFill>
                  <a:schemeClr val="tx1"/>
                </a:solidFill>
              </a:rPr>
              <a:t>cessation </a:t>
            </a:r>
            <a:r>
              <a:rPr lang="en-GB" sz="3600" b="1" dirty="0">
                <a:solidFill>
                  <a:schemeClr val="tx1"/>
                </a:solidFill>
              </a:rPr>
              <a:t>disease awareness through digital interactive services and social media interventions </a:t>
            </a:r>
            <a:endParaRPr lang="en-GB" sz="360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47664" y="4509120"/>
            <a:ext cx="59046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This project was organised and funded by Pfizer Ltd and endorsed by Roy Castle Lung Cancer Foundation and QUIT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12824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ounded Rectangle 59"/>
          <p:cNvSpPr/>
          <p:nvPr/>
        </p:nvSpPr>
        <p:spPr>
          <a:xfrm>
            <a:off x="1409634" y="1340768"/>
            <a:ext cx="7410838" cy="460851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Thunderclap launched project on 23</a:t>
            </a:r>
            <a:r>
              <a:rPr lang="en-GB" baseline="30000" dirty="0">
                <a:solidFill>
                  <a:srgbClr val="000000"/>
                </a:solidFill>
              </a:rPr>
              <a:t>rd</a:t>
            </a:r>
            <a:r>
              <a:rPr lang="en-GB" dirty="0">
                <a:solidFill>
                  <a:srgbClr val="000000"/>
                </a:solidFill>
              </a:rPr>
              <a:t> March 2015 with a social reach of 52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0000"/>
                </a:solidFill>
              </a:rPr>
              <a:t>6 videos live on Pfizer UK YouTube channel – 5 have paid media behind the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0000"/>
                </a:solidFill>
              </a:rPr>
              <a:t>Results for weeks </a:t>
            </a:r>
            <a:r>
              <a:rPr lang="en-GB" b="1" dirty="0" smtClean="0">
                <a:solidFill>
                  <a:srgbClr val="000000"/>
                </a:solidFill>
              </a:rPr>
              <a:t>1-6:</a:t>
            </a:r>
            <a:endParaRPr lang="en-GB" b="1" dirty="0">
              <a:solidFill>
                <a:srgbClr val="000000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0000"/>
                </a:solidFill>
              </a:rPr>
              <a:t>7.9m </a:t>
            </a:r>
            <a:r>
              <a:rPr lang="en-GB" b="1" dirty="0">
                <a:solidFill>
                  <a:srgbClr val="000000"/>
                </a:solidFill>
              </a:rPr>
              <a:t>impressions of first 5 secon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0000"/>
                </a:solidFill>
              </a:rPr>
              <a:t>1.7m </a:t>
            </a:r>
            <a:r>
              <a:rPr lang="en-GB" b="1" dirty="0">
                <a:solidFill>
                  <a:srgbClr val="000000"/>
                </a:solidFill>
              </a:rPr>
              <a:t>views from </a:t>
            </a:r>
            <a:r>
              <a:rPr lang="en-GB" b="1" dirty="0" smtClean="0">
                <a:solidFill>
                  <a:srgbClr val="000000"/>
                </a:solidFill>
              </a:rPr>
              <a:t>1.4m </a:t>
            </a:r>
            <a:r>
              <a:rPr lang="en-GB" b="1" dirty="0">
                <a:solidFill>
                  <a:srgbClr val="000000"/>
                </a:solidFill>
              </a:rPr>
              <a:t>unique viewers </a:t>
            </a:r>
            <a:r>
              <a:rPr lang="en-GB" b="1" dirty="0" smtClean="0">
                <a:solidFill>
                  <a:srgbClr val="FF0000"/>
                </a:solidFill>
              </a:rPr>
              <a:t>(680k views </a:t>
            </a:r>
            <a:r>
              <a:rPr lang="en-GB" b="1" dirty="0">
                <a:solidFill>
                  <a:srgbClr val="FF0000"/>
                </a:solidFill>
              </a:rPr>
              <a:t>organic</a:t>
            </a:r>
            <a:r>
              <a:rPr lang="en-GB" b="1" dirty="0" smtClean="0">
                <a:solidFill>
                  <a:srgbClr val="FF0000"/>
                </a:solidFill>
              </a:rPr>
              <a:t>)</a:t>
            </a:r>
            <a:endParaRPr lang="en-GB" b="1" dirty="0">
              <a:solidFill>
                <a:srgbClr val="000000"/>
              </a:solidFill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0000"/>
                </a:solidFill>
              </a:rPr>
              <a:t>14k </a:t>
            </a:r>
            <a:r>
              <a:rPr lang="en-GB" b="1" dirty="0">
                <a:solidFill>
                  <a:srgbClr val="000000"/>
                </a:solidFill>
              </a:rPr>
              <a:t>clicks through to Quit with Help website  - bounce rate 92%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1849247" y="4869160"/>
            <a:ext cx="6539177" cy="79208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 b="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00" b="1" dirty="0" smtClean="0">
              <a:solidFill>
                <a:srgbClr val="F5962C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800" b="1" dirty="0" smtClean="0">
                <a:solidFill>
                  <a:srgbClr val="F5962C"/>
                </a:solidFill>
              </a:rPr>
              <a:t>Charitable donation cap was £20k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800" b="1" dirty="0" smtClean="0">
                <a:solidFill>
                  <a:srgbClr val="FFFFFF"/>
                </a:solidFill>
              </a:rPr>
              <a:t>This was reached after week 2 of the campaign</a:t>
            </a:r>
            <a:endParaRPr lang="en-GB" sz="1800" b="1" dirty="0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00" b="1" dirty="0">
              <a:solidFill>
                <a:srgbClr val="FFFFFF"/>
              </a:solidFill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323528" y="1340768"/>
            <a:ext cx="1167581" cy="461806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5962C"/>
                </a:solidFill>
              </a:rPr>
              <a:t>Results </a:t>
            </a:r>
          </a:p>
        </p:txBody>
      </p:sp>
      <p:sp>
        <p:nvSpPr>
          <p:cNvPr id="32" name="AutoShape 9"/>
          <p:cNvSpPr txBox="1">
            <a:spLocks noChangeArrowheads="1"/>
          </p:cNvSpPr>
          <p:nvPr/>
        </p:nvSpPr>
        <p:spPr bwMode="auto">
          <a:xfrm>
            <a:off x="323528" y="288453"/>
            <a:ext cx="8458200" cy="701731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After week 7 ALL of the targets for views, reach and charitable donations were met</a:t>
            </a:r>
            <a:endParaRPr lang="en-US" b="1" kern="0" dirty="0">
              <a:solidFill>
                <a:srgbClr val="FFFFFF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908100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9"/>
          <p:cNvSpPr txBox="1">
            <a:spLocks noChangeArrowheads="1"/>
          </p:cNvSpPr>
          <p:nvPr/>
        </p:nvSpPr>
        <p:spPr bwMode="auto">
          <a:xfrm>
            <a:off x="323528" y="440802"/>
            <a:ext cx="8458200" cy="397032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What have we learnt?</a:t>
            </a:r>
            <a:endParaRPr lang="en-US" b="1" kern="0" dirty="0">
              <a:solidFill>
                <a:srgbClr val="FFFFFF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00995" y="4005064"/>
            <a:ext cx="8784976" cy="864096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FFFFFF"/>
                </a:solidFill>
              </a:rPr>
              <a:t>Engage the smoking cessation community early on</a:t>
            </a:r>
            <a:endParaRPr lang="en-GB" sz="1600" b="1" dirty="0">
              <a:solidFill>
                <a:srgbClr val="FFFFFF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00995" y="5085184"/>
            <a:ext cx="8784976" cy="79208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err="1" smtClean="0">
                <a:solidFill>
                  <a:srgbClr val="FFFFFF"/>
                </a:solidFill>
              </a:rPr>
              <a:t>TrueView</a:t>
            </a:r>
            <a:r>
              <a:rPr lang="en-GB" sz="1600" b="1" dirty="0" smtClean="0">
                <a:solidFill>
                  <a:srgbClr val="FFFFFF"/>
                </a:solidFill>
              </a:rPr>
              <a:t> learns!</a:t>
            </a:r>
            <a:endParaRPr lang="en-GB" sz="1600" b="1" dirty="0">
              <a:solidFill>
                <a:srgbClr val="FFFFFF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36088" y="1344568"/>
            <a:ext cx="8763493" cy="1436360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FF0000"/>
                </a:solidFill>
              </a:rPr>
              <a:t>Telling a story is different on YouTube/video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chemeClr val="bg1"/>
                </a:solidFill>
              </a:rPr>
              <a:t>You need to get your message across in the first 5 seconds to perform well and create engaging “hero” content that will appeal to the audience so they keep watching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51520" y="2933328"/>
            <a:ext cx="8784976" cy="85571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FFFFFF"/>
                </a:solidFill>
              </a:rPr>
              <a:t>A positive, upbeat, supportive  and consistent message is received VERY well by consumers when it comes to smoking cessation</a:t>
            </a:r>
            <a:endParaRPr lang="en-GB" sz="1600" b="1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855497"/>
      </p:ext>
    </p:extLst>
  </p:cSld>
  <p:clrMapOvr>
    <a:masterClrMapping/>
  </p:clrMapOvr>
  <p:transition xmlns:p14="http://schemas.microsoft.com/office/powerpoint/2010/main"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104" y="1772816"/>
            <a:ext cx="2702024" cy="3602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9"/>
          <p:cNvSpPr txBox="1">
            <a:spLocks noChangeArrowheads="1"/>
          </p:cNvSpPr>
          <p:nvPr/>
        </p:nvSpPr>
        <p:spPr bwMode="auto">
          <a:xfrm>
            <a:off x="179512" y="64541"/>
            <a:ext cx="8784976" cy="1040285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THANK YOU FOR LISTENING</a:t>
            </a:r>
          </a:p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ANY QUESTIONS?</a:t>
            </a:r>
            <a:endParaRPr lang="en-US" sz="2800" b="1" kern="0" dirty="0">
              <a:solidFill>
                <a:srgbClr val="FF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454327"/>
      </p:ext>
    </p:extLst>
  </p:cSld>
  <p:clrMapOvr>
    <a:masterClrMapping/>
  </p:clrMapOvr>
  <p:transition xmlns:p14="http://schemas.microsoft.com/office/powerpoint/2010/main"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1844824"/>
            <a:ext cx="842493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/>
              <a:t>Source of Funding – Pfizer Ltd</a:t>
            </a:r>
          </a:p>
          <a:p>
            <a:pPr algn="ctr"/>
            <a:endParaRPr lang="en-GB" sz="2400" b="1" dirty="0" smtClean="0"/>
          </a:p>
          <a:p>
            <a:pPr algn="ctr"/>
            <a:r>
              <a:rPr lang="en-GB" sz="2400" b="1" dirty="0" smtClean="0"/>
              <a:t>Declaration of interest – Sarah Sunderland and Samantha Howland are employees of Pfizer Limited</a:t>
            </a:r>
            <a:endParaRPr lang="en-GB" sz="24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4030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5479"/>
            <a:ext cx="8458200" cy="867930"/>
          </a:xfrm>
        </p:spPr>
        <p:txBody>
          <a:bodyPr/>
          <a:lstStyle/>
          <a:p>
            <a:pPr algn="ctr"/>
            <a:r>
              <a:rPr lang="en-GB" b="1" dirty="0" smtClean="0">
                <a:effectLst/>
              </a:rPr>
              <a:t>People who are trying to quit smoking are searching for information online to help them  </a:t>
            </a:r>
            <a:endParaRPr lang="en-GB" b="1" dirty="0">
              <a:effectLst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860032" y="1870087"/>
            <a:ext cx="3744416" cy="1630022"/>
            <a:chOff x="5735552" y="2474115"/>
            <a:chExt cx="3109346" cy="1141439"/>
          </a:xfrm>
        </p:grpSpPr>
        <p:pic>
          <p:nvPicPr>
            <p:cNvPr id="9" name="Picture 8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5" y="2474115"/>
              <a:ext cx="2118905" cy="882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5735552" y="3378478"/>
              <a:ext cx="3109346" cy="2370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600" b="1" dirty="0">
                  <a:solidFill>
                    <a:srgbClr val="000000"/>
                  </a:solidFill>
                </a:rPr>
                <a:t>5.5m </a:t>
              </a:r>
              <a:r>
                <a:rPr lang="en-GB" sz="1600" b="1" cap="all" dirty="0">
                  <a:solidFill>
                    <a:srgbClr val="000000"/>
                  </a:solidFill>
                </a:rPr>
                <a:t>searches/year</a:t>
              </a:r>
              <a:endParaRPr lang="de-DE" sz="1600" b="1" cap="all" dirty="0">
                <a:solidFill>
                  <a:srgbClr val="000000"/>
                </a:solidFill>
                <a:latin typeface="Open San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843808" y="4031732"/>
            <a:ext cx="3261577" cy="1629516"/>
            <a:chOff x="3181751" y="3248355"/>
            <a:chExt cx="3261577" cy="1629516"/>
          </a:xfrm>
        </p:grpSpPr>
        <p:sp>
          <p:nvSpPr>
            <p:cNvPr id="4" name="TextBox 3"/>
            <p:cNvSpPr txBox="1"/>
            <p:nvPr/>
          </p:nvSpPr>
          <p:spPr>
            <a:xfrm>
              <a:off x="3635896" y="4539317"/>
              <a:ext cx="251490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rgbClr val="000000"/>
                  </a:solidFill>
                </a:rPr>
                <a:t>120k </a:t>
              </a:r>
              <a:r>
                <a:rPr lang="en-GB" sz="1600" b="1" cap="all" dirty="0">
                  <a:solidFill>
                    <a:srgbClr val="000000"/>
                  </a:solidFill>
                </a:rPr>
                <a:t>tweets in </a:t>
              </a:r>
              <a:r>
                <a:rPr lang="en-GB" sz="1600" b="1" dirty="0">
                  <a:solidFill>
                    <a:srgbClr val="000000"/>
                  </a:solidFill>
                </a:rPr>
                <a:t>2014</a:t>
              </a:r>
            </a:p>
          </p:txBody>
        </p:sp>
        <p:pic>
          <p:nvPicPr>
            <p:cNvPr id="10242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81751" y="3248355"/>
              <a:ext cx="3261577" cy="1217655"/>
            </a:xfrm>
            <a:prstGeom prst="round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395536" y="1844824"/>
            <a:ext cx="3110748" cy="1656183"/>
            <a:chOff x="395536" y="2204865"/>
            <a:chExt cx="3110748" cy="1656183"/>
          </a:xfrm>
        </p:grpSpPr>
        <p:sp>
          <p:nvSpPr>
            <p:cNvPr id="3" name="TextBox 2"/>
            <p:cNvSpPr txBox="1"/>
            <p:nvPr/>
          </p:nvSpPr>
          <p:spPr>
            <a:xfrm>
              <a:off x="615848" y="3522494"/>
              <a:ext cx="25880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600" b="1" dirty="0">
                  <a:solidFill>
                    <a:srgbClr val="000000"/>
                  </a:solidFill>
                </a:rPr>
                <a:t>450k </a:t>
              </a:r>
              <a:r>
                <a:rPr lang="en-GB" sz="1600" b="1" cap="all" dirty="0">
                  <a:solidFill>
                    <a:srgbClr val="000000"/>
                  </a:solidFill>
                </a:rPr>
                <a:t>searches/year</a:t>
              </a:r>
              <a:endParaRPr lang="en-GB" b="1" cap="all" dirty="0">
                <a:solidFill>
                  <a:srgbClr val="000000"/>
                </a:solidFill>
              </a:endParaRPr>
            </a:p>
          </p:txBody>
        </p:sp>
        <p:pic>
          <p:nvPicPr>
            <p:cNvPr id="10243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2204865"/>
              <a:ext cx="3110748" cy="1296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05385" y="5661248"/>
            <a:ext cx="3038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</a:rPr>
              <a:t>Reference: Google data December 2014</a:t>
            </a:r>
            <a:endParaRPr lang="en-GB" sz="1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76207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508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5" imgW="315" imgH="318" progId="TCLayout.ActiveDocument.1">
                  <p:embed/>
                </p:oleObj>
              </mc:Choice>
              <mc:Fallback>
                <p:oleObj name="think-cell Slide" r:id="rId5" imgW="315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195479"/>
            <a:ext cx="8458200" cy="867930"/>
          </a:xfrm>
        </p:spPr>
        <p:txBody>
          <a:bodyPr/>
          <a:lstStyle/>
          <a:p>
            <a:pPr algn="ctr"/>
            <a:r>
              <a:rPr lang="en-GB" b="1" dirty="0">
                <a:effectLst/>
              </a:rPr>
              <a:t>V</a:t>
            </a:r>
            <a:r>
              <a:rPr lang="en-GB" b="1" dirty="0" smtClean="0">
                <a:effectLst/>
              </a:rPr>
              <a:t>isual interaction increases engagement and trust</a:t>
            </a:r>
            <a:endParaRPr lang="en-GB" b="1" dirty="0">
              <a:effectLst/>
            </a:endParaRPr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34" y="1268759"/>
            <a:ext cx="8868745" cy="48509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05385" y="5888305"/>
            <a:ext cx="3038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</a:rPr>
              <a:t>Reference: Google data December 2014</a:t>
            </a:r>
            <a:endParaRPr lang="en-GB" sz="1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821623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437112"/>
            <a:ext cx="2466975" cy="14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9"/>
          <p:cNvSpPr txBox="1">
            <a:spLocks noChangeArrowheads="1"/>
          </p:cNvSpPr>
          <p:nvPr/>
        </p:nvSpPr>
        <p:spPr bwMode="auto">
          <a:xfrm>
            <a:off x="179512" y="150719"/>
            <a:ext cx="8784976" cy="867930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chemeClr val="tx2"/>
                </a:solidFill>
                <a:latin typeface="Calibri" panose="020F0502020204030204" pitchFamily="34" charset="0"/>
                <a:ea typeface="MS PGothic" pitchFamily="34" charset="-128"/>
              </a:rPr>
              <a:t>The smoking cessation environment has transformed in the last few years</a:t>
            </a:r>
            <a:endParaRPr lang="en-US" sz="2800" b="1" kern="0" dirty="0">
              <a:solidFill>
                <a:schemeClr val="tx2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3203848" y="2583782"/>
            <a:ext cx="3024336" cy="2"/>
          </a:xfrm>
          <a:prstGeom prst="straightConnector1">
            <a:avLst/>
          </a:prstGeom>
          <a:ln w="22225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323528" y="1268760"/>
            <a:ext cx="8424937" cy="1976742"/>
            <a:chOff x="395535" y="1268760"/>
            <a:chExt cx="8424937" cy="1976742"/>
          </a:xfrm>
        </p:grpSpPr>
        <p:grpSp>
          <p:nvGrpSpPr>
            <p:cNvPr id="2" name="Group 1"/>
            <p:cNvGrpSpPr/>
            <p:nvPr/>
          </p:nvGrpSpPr>
          <p:grpSpPr>
            <a:xfrm>
              <a:off x="683567" y="1922063"/>
              <a:ext cx="8136905" cy="1323439"/>
              <a:chOff x="683567" y="1922063"/>
              <a:chExt cx="8136905" cy="1323439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683567" y="1922063"/>
                <a:ext cx="2520280" cy="132343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ctr">
                  <a:defRPr sz="1600" b="0">
                    <a:solidFill>
                      <a:schemeClr val="lt1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GB" b="1" dirty="0">
                    <a:solidFill>
                      <a:srgbClr val="F5962C"/>
                    </a:solidFill>
                  </a:rPr>
                  <a:t>19% decline in people making quit attempts</a:t>
                </a:r>
                <a:r>
                  <a:rPr lang="en-GB" dirty="0">
                    <a:solidFill>
                      <a:srgbClr val="FFFFFF"/>
                    </a:solidFill>
                  </a:rPr>
                  <a:t> through stop smoking services vs </a:t>
                </a:r>
                <a:r>
                  <a:rPr lang="en-GB" dirty="0" smtClean="0">
                    <a:solidFill>
                      <a:srgbClr val="FFFFFF"/>
                    </a:solidFill>
                  </a:rPr>
                  <a:t>2013</a:t>
                </a:r>
                <a:r>
                  <a:rPr lang="en-GB" baseline="30000" dirty="0" smtClean="0">
                    <a:solidFill>
                      <a:srgbClr val="FFFFFF"/>
                    </a:solidFill>
                  </a:rPr>
                  <a:t>1</a:t>
                </a:r>
                <a:endParaRPr lang="en-GB" baseline="30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6372200" y="1922063"/>
                <a:ext cx="2448272" cy="1323439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algn="ctr">
                  <a:defRPr sz="1600" b="0">
                    <a:solidFill>
                      <a:schemeClr val="lt1"/>
                    </a:solidFill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endParaRPr lang="en-GB" b="1" dirty="0" smtClean="0">
                  <a:solidFill>
                    <a:srgbClr val="F5962C"/>
                  </a:solidFill>
                </a:endParaRPr>
              </a:p>
              <a:p>
                <a:r>
                  <a:rPr lang="en-GB" b="1" dirty="0" smtClean="0">
                    <a:solidFill>
                      <a:srgbClr val="F5962C"/>
                    </a:solidFill>
                  </a:rPr>
                  <a:t>Smoking </a:t>
                </a:r>
                <a:r>
                  <a:rPr lang="en-GB" b="1" dirty="0">
                    <a:solidFill>
                      <a:srgbClr val="F5962C"/>
                    </a:solidFill>
                  </a:rPr>
                  <a:t>cessation prescription market has shrunk by 25% </a:t>
                </a:r>
                <a:r>
                  <a:rPr lang="en-GB" dirty="0">
                    <a:solidFill>
                      <a:srgbClr val="FFFFFF"/>
                    </a:solidFill>
                  </a:rPr>
                  <a:t>in the last </a:t>
                </a:r>
                <a:r>
                  <a:rPr lang="en-GB" dirty="0" smtClean="0">
                    <a:solidFill>
                      <a:srgbClr val="FFFFFF"/>
                    </a:solidFill>
                  </a:rPr>
                  <a:t>year</a:t>
                </a:r>
                <a:r>
                  <a:rPr lang="en-GB" baseline="30000" dirty="0" smtClean="0">
                    <a:solidFill>
                      <a:srgbClr val="FFFFFF"/>
                    </a:solidFill>
                  </a:rPr>
                  <a:t>2</a:t>
                </a:r>
                <a:endParaRPr lang="en-GB" baseline="30000" dirty="0">
                  <a:solidFill>
                    <a:srgbClr val="FFFFFF"/>
                  </a:solidFill>
                </a:endParaRPr>
              </a:p>
              <a:p>
                <a:endParaRPr lang="en-GB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9" name="Rounded Rectangle 18"/>
            <p:cNvSpPr/>
            <p:nvPr/>
          </p:nvSpPr>
          <p:spPr>
            <a:xfrm>
              <a:off x="395535" y="1268760"/>
              <a:ext cx="8424936" cy="504055"/>
            </a:xfrm>
            <a:prstGeom prst="round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800" b="1" dirty="0">
                  <a:solidFill>
                    <a:srgbClr val="FFFFFF"/>
                  </a:solidFill>
                </a:rPr>
                <a:t>The </a:t>
              </a:r>
              <a:r>
                <a:rPr lang="en-GB" sz="2800" b="1" dirty="0" smtClean="0">
                  <a:solidFill>
                    <a:srgbClr val="FFFFFF"/>
                  </a:solidFill>
                </a:rPr>
                <a:t>Situation</a:t>
              </a:r>
              <a:endParaRPr lang="en-GB" sz="28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Rounded Rectangle 22"/>
          <p:cNvSpPr/>
          <p:nvPr/>
        </p:nvSpPr>
        <p:spPr>
          <a:xfrm>
            <a:off x="323528" y="3501008"/>
            <a:ext cx="8496944" cy="792088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algn="ctr"/>
            <a:r>
              <a:rPr lang="en-GB" sz="2000" b="1" dirty="0">
                <a:solidFill>
                  <a:srgbClr val="FFFFFF"/>
                </a:solidFill>
              </a:rPr>
              <a:t>We must convince smokers who want to quit </a:t>
            </a:r>
            <a:r>
              <a:rPr lang="en-GB" sz="2000" b="1" dirty="0" smtClean="0">
                <a:solidFill>
                  <a:srgbClr val="FFFFFF"/>
                </a:solidFill>
              </a:rPr>
              <a:t>that they are 4 times more likely to succeed with the help of a healthcare professional </a:t>
            </a:r>
            <a:endParaRPr lang="en-GB" sz="2000" b="1" dirty="0">
              <a:solidFill>
                <a:srgbClr val="FFFFFF"/>
              </a:solidFill>
            </a:endParaRP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4437112"/>
            <a:ext cx="2376264" cy="14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AutoShape 5" descr="Image result for newspaper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0000"/>
              </a:solidFill>
            </a:endParaRPr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1" y="4437112"/>
            <a:ext cx="2088232" cy="14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4437112"/>
            <a:ext cx="2699792" cy="1489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25167" y="6093296"/>
            <a:ext cx="27269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References</a:t>
            </a:r>
          </a:p>
          <a:p>
            <a:pPr marL="228600" indent="-228600">
              <a:buAutoNum type="arabicPeriod"/>
            </a:pPr>
            <a:r>
              <a:rPr lang="en-GB" sz="1200" dirty="0" smtClean="0"/>
              <a:t>HSCIC Stop Smoking Service data August 2014</a:t>
            </a:r>
          </a:p>
          <a:p>
            <a:pPr marL="228600" indent="-228600">
              <a:buAutoNum type="arabicPeriod"/>
            </a:pPr>
            <a:r>
              <a:rPr lang="en-GB" sz="1200" dirty="0" smtClean="0"/>
              <a:t>IMS data 2013 vs 2014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82448884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0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179512" y="1988841"/>
            <a:ext cx="8784976" cy="648071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Action: </a:t>
            </a:r>
            <a:endParaRPr lang="en-GB" b="1" dirty="0" smtClean="0">
              <a:solidFill>
                <a:srgbClr val="FFFFFF"/>
              </a:solidFill>
            </a:endParaRPr>
          </a:p>
          <a:p>
            <a:pPr algn="ctr"/>
            <a:r>
              <a:rPr lang="en-GB" b="1" dirty="0" smtClean="0">
                <a:solidFill>
                  <a:srgbClr val="FFFFFF"/>
                </a:solidFill>
              </a:rPr>
              <a:t>deliver </a:t>
            </a:r>
            <a:r>
              <a:rPr lang="en-GB" b="1" dirty="0">
                <a:solidFill>
                  <a:srgbClr val="FFFFFF"/>
                </a:solidFill>
              </a:rPr>
              <a:t>current </a:t>
            </a:r>
            <a:r>
              <a:rPr lang="en-GB" b="1" dirty="0" smtClean="0">
                <a:solidFill>
                  <a:srgbClr val="FFFFFF"/>
                </a:solidFill>
              </a:rPr>
              <a:t>unbranded </a:t>
            </a:r>
            <a:r>
              <a:rPr lang="en-GB" b="1" dirty="0">
                <a:solidFill>
                  <a:srgbClr val="FFFFFF"/>
                </a:solidFill>
              </a:rPr>
              <a:t>TV ads through targeted </a:t>
            </a:r>
            <a:r>
              <a:rPr lang="en-GB" b="1" dirty="0" smtClean="0">
                <a:solidFill>
                  <a:srgbClr val="FFFFFF"/>
                </a:solidFill>
              </a:rPr>
              <a:t>paid media </a:t>
            </a:r>
            <a:r>
              <a:rPr lang="en-GB" b="1" dirty="0">
                <a:solidFill>
                  <a:srgbClr val="FFFFFF"/>
                </a:solidFill>
              </a:rPr>
              <a:t>on YouTube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708920"/>
            <a:ext cx="1905496" cy="654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738" y="3362538"/>
            <a:ext cx="2112680" cy="1074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5771" y="3342639"/>
            <a:ext cx="2168277" cy="1094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AutoShape 9"/>
          <p:cNvSpPr txBox="1">
            <a:spLocks noChangeArrowheads="1"/>
          </p:cNvSpPr>
          <p:nvPr/>
        </p:nvSpPr>
        <p:spPr bwMode="auto">
          <a:xfrm>
            <a:off x="179512" y="344618"/>
            <a:ext cx="8784976" cy="480131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THE </a:t>
            </a:r>
            <a:r>
              <a:rPr lang="en-US" sz="28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EXPERIMENT</a:t>
            </a:r>
            <a:endParaRPr lang="en-US" sz="2800" b="1" kern="0" dirty="0">
              <a:solidFill>
                <a:srgbClr val="FF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79512" y="4509120"/>
            <a:ext cx="8784976" cy="1152128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 smtClean="0">
              <a:solidFill>
                <a:srgbClr val="FFFFFF"/>
              </a:solidFill>
            </a:endParaRPr>
          </a:p>
          <a:p>
            <a:pPr algn="ctr"/>
            <a:r>
              <a:rPr lang="en-GB" sz="2000" b="1" dirty="0" err="1" smtClean="0">
                <a:solidFill>
                  <a:srgbClr val="FFFFFF"/>
                </a:solidFill>
              </a:rPr>
              <a:t>TrueView</a:t>
            </a:r>
            <a:r>
              <a:rPr lang="en-GB" sz="2000" b="1" dirty="0">
                <a:solidFill>
                  <a:srgbClr val="FFFFFF"/>
                </a:solidFill>
              </a:rPr>
              <a:t>, in-search, in-display: from 1st January – 22nd March</a:t>
            </a:r>
          </a:p>
          <a:p>
            <a:pPr algn="ctr"/>
            <a:r>
              <a:rPr lang="en-GB" sz="1600" b="1" dirty="0" smtClean="0">
                <a:solidFill>
                  <a:srgbClr val="FFFFFF"/>
                </a:solidFill>
              </a:rPr>
              <a:t>In </a:t>
            </a:r>
            <a:r>
              <a:rPr lang="en-GB" sz="1600" b="1" dirty="0">
                <a:solidFill>
                  <a:srgbClr val="FFFFFF"/>
                </a:solidFill>
              </a:rPr>
              <a:t>10 weeks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FFFFFF"/>
                </a:solidFill>
              </a:rPr>
              <a:t>First 5 seconds seen 8.2m time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FFFFFF"/>
                </a:solidFill>
              </a:rPr>
              <a:t>Ads viewed 914k times by 637k people </a:t>
            </a:r>
          </a:p>
          <a:p>
            <a:endParaRPr lang="en-GB" sz="1600" b="1" dirty="0">
              <a:solidFill>
                <a:srgbClr val="FFFFFF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179512" y="1268761"/>
            <a:ext cx="8784976" cy="64807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rgbClr val="FFFFFF"/>
                </a:solidFill>
              </a:rPr>
              <a:t>Smokers are online – 50% target audience use YouTube once a week</a:t>
            </a:r>
          </a:p>
        </p:txBody>
      </p:sp>
      <p:sp>
        <p:nvSpPr>
          <p:cNvPr id="2" name="Rectangle 1"/>
          <p:cNvSpPr/>
          <p:nvPr/>
        </p:nvSpPr>
        <p:spPr>
          <a:xfrm>
            <a:off x="5076056" y="2974593"/>
            <a:ext cx="388843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b="1" dirty="0" err="1">
                <a:solidFill>
                  <a:srgbClr val="000000"/>
                </a:solidFill>
              </a:rPr>
              <a:t>TrueView</a:t>
            </a:r>
            <a:r>
              <a:rPr lang="en-GB" sz="1400" b="1" dirty="0">
                <a:solidFill>
                  <a:srgbClr val="000000"/>
                </a:solidFill>
              </a:rPr>
              <a:t> ads</a:t>
            </a:r>
            <a:r>
              <a:rPr lang="en-GB" sz="1400" dirty="0">
                <a:solidFill>
                  <a:srgbClr val="000000"/>
                </a:solidFill>
              </a:rPr>
              <a:t> to </a:t>
            </a:r>
            <a:r>
              <a:rPr lang="en-GB" sz="1400" b="1" dirty="0">
                <a:solidFill>
                  <a:srgbClr val="000000"/>
                </a:solidFill>
              </a:rPr>
              <a:t>targeted consumers</a:t>
            </a:r>
            <a:r>
              <a:rPr lang="en-GB" sz="1400" dirty="0">
                <a:solidFill>
                  <a:srgbClr val="000000"/>
                </a:solidFill>
              </a:rPr>
              <a:t> in front of searched </a:t>
            </a:r>
            <a:r>
              <a:rPr lang="en-GB" sz="1400" dirty="0" smtClean="0">
                <a:solidFill>
                  <a:srgbClr val="000000"/>
                </a:solidFill>
              </a:rPr>
              <a:t>videos. </a:t>
            </a:r>
            <a:endParaRPr lang="en-GB" sz="14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</a:rPr>
              <a:t>There is an option for the viewer to skip the ad after 5 seconds, Pfizer only pays for views longer than 30 </a:t>
            </a:r>
            <a:r>
              <a:rPr lang="en-GB" sz="1400" dirty="0" smtClean="0">
                <a:solidFill>
                  <a:srgbClr val="000000"/>
                </a:solidFill>
              </a:rPr>
              <a:t>seconds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05385" y="5805264"/>
            <a:ext cx="30386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Calibri" panose="020F0502020204030204" pitchFamily="34" charset="0"/>
              </a:rPr>
              <a:t>Reference: Google data December 2014</a:t>
            </a:r>
            <a:endParaRPr lang="en-GB" sz="1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780830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9"/>
          <p:cNvSpPr txBox="1">
            <a:spLocks noChangeArrowheads="1"/>
          </p:cNvSpPr>
          <p:nvPr/>
        </p:nvSpPr>
        <p:spPr bwMode="auto">
          <a:xfrm>
            <a:off x="179512" y="261518"/>
            <a:ext cx="8784976" cy="646331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DEVELOPING THE </a:t>
            </a:r>
            <a:r>
              <a:rPr lang="en-US" sz="28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EXPERIMENT TO </a:t>
            </a:r>
            <a:r>
              <a:rPr lang="en-US" sz="40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CROWDSOURCE</a:t>
            </a:r>
            <a:endParaRPr lang="en-US" sz="4000" b="1" kern="0" dirty="0">
              <a:solidFill>
                <a:srgbClr val="FF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3096344" cy="654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179512" y="1988840"/>
            <a:ext cx="8784976" cy="1008111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>
                <a:solidFill>
                  <a:srgbClr val="FFFFFF"/>
                </a:solidFill>
              </a:rPr>
              <a:t>5 Talented YouTube Celebrities have made a video each to deliver the message that “you are 4 times more likely to quit smoking with the help of a healthcare professional” in their own unique style 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5102696"/>
            <a:ext cx="1908213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6" y="4293096"/>
            <a:ext cx="1781944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ounded Rectangle 9"/>
          <p:cNvSpPr/>
          <p:nvPr/>
        </p:nvSpPr>
        <p:spPr>
          <a:xfrm>
            <a:off x="107504" y="4437112"/>
            <a:ext cx="6984776" cy="1656184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rgbClr val="FFFFFF"/>
              </a:solidFill>
            </a:endParaRPr>
          </a:p>
          <a:p>
            <a:pPr algn="ctr"/>
            <a:r>
              <a:rPr lang="en-GB" b="1" dirty="0" smtClean="0">
                <a:solidFill>
                  <a:srgbClr val="FFFFFF"/>
                </a:solidFill>
              </a:rPr>
              <a:t>Campaign ran </a:t>
            </a:r>
            <a:r>
              <a:rPr lang="en-GB" b="1" dirty="0">
                <a:solidFill>
                  <a:srgbClr val="FFFFFF"/>
                </a:solidFill>
              </a:rPr>
              <a:t>from 23</a:t>
            </a:r>
            <a:r>
              <a:rPr lang="en-GB" b="1" baseline="30000" dirty="0">
                <a:solidFill>
                  <a:srgbClr val="FFFFFF"/>
                </a:solidFill>
              </a:rPr>
              <a:t>rd</a:t>
            </a:r>
            <a:r>
              <a:rPr lang="en-GB" b="1" dirty="0">
                <a:solidFill>
                  <a:srgbClr val="FFFFFF"/>
                </a:solidFill>
              </a:rPr>
              <a:t> March to 29</a:t>
            </a:r>
            <a:r>
              <a:rPr lang="en-GB" b="1" baseline="30000" dirty="0">
                <a:solidFill>
                  <a:srgbClr val="FFFFFF"/>
                </a:solidFill>
              </a:rPr>
              <a:t>th</a:t>
            </a:r>
            <a:r>
              <a:rPr lang="en-GB" b="1" dirty="0">
                <a:solidFill>
                  <a:srgbClr val="FFFFFF"/>
                </a:solidFill>
              </a:rPr>
              <a:t> May to raise money for QUIT and Roy Castle Lung Cancer </a:t>
            </a:r>
            <a:r>
              <a:rPr lang="en-GB" b="1" dirty="0" smtClean="0">
                <a:solidFill>
                  <a:srgbClr val="FFFFFF"/>
                </a:solidFill>
              </a:rPr>
              <a:t>Foundation</a:t>
            </a:r>
          </a:p>
          <a:p>
            <a:r>
              <a:rPr lang="en-GB" b="1" dirty="0" smtClean="0">
                <a:solidFill>
                  <a:srgbClr val="FFFFFF"/>
                </a:solidFill>
              </a:rPr>
              <a:t>Charitable donations:</a:t>
            </a:r>
            <a:endParaRPr lang="en-GB" b="1" dirty="0">
              <a:solidFill>
                <a:srgbClr val="FFFFFF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FFFFFF"/>
                </a:solidFill>
              </a:rPr>
              <a:t>10p when </a:t>
            </a:r>
            <a:r>
              <a:rPr lang="en-GB" b="1" dirty="0" err="1">
                <a:solidFill>
                  <a:srgbClr val="FFFFFF"/>
                </a:solidFill>
              </a:rPr>
              <a:t>TrueView</a:t>
            </a:r>
            <a:r>
              <a:rPr lang="en-GB" b="1" dirty="0">
                <a:solidFill>
                  <a:srgbClr val="FFFFFF"/>
                </a:solidFill>
              </a:rPr>
              <a:t> ad watched 25% or mo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FFFFFF"/>
                </a:solidFill>
              </a:rPr>
              <a:t>1p for every lik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FFFFFF"/>
                </a:solidFill>
              </a:rPr>
              <a:t>1p for every click through to www.quitwithhelp.co.uk</a:t>
            </a:r>
          </a:p>
          <a:p>
            <a:pPr algn="ctr"/>
            <a:endParaRPr lang="en-GB" b="1" dirty="0">
              <a:solidFill>
                <a:srgbClr val="FFFFFF"/>
              </a:solidFill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3068960"/>
            <a:ext cx="1800200" cy="1245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3068960"/>
            <a:ext cx="1800200" cy="122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081531"/>
            <a:ext cx="1872208" cy="1211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8" descr="Image result for f2 freestylers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0000"/>
              </a:solidFill>
            </a:endParaRPr>
          </a:p>
        </p:txBody>
      </p:sp>
      <p:pic>
        <p:nvPicPr>
          <p:cNvPr id="5129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5" y="3068961"/>
            <a:ext cx="1728192" cy="122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11" descr="Image result for ashens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000000"/>
              </a:solidFill>
            </a:endParaRPr>
          </a:p>
        </p:txBody>
      </p:sp>
      <p:pic>
        <p:nvPicPr>
          <p:cNvPr id="5132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6297" y="3068960"/>
            <a:ext cx="1907703" cy="122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275856" y="1268760"/>
            <a:ext cx="5868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rgbClr val="000000"/>
                </a:solidFill>
              </a:rPr>
              <a:t>Target reach:</a:t>
            </a:r>
          </a:p>
          <a:p>
            <a:pPr algn="ctr"/>
            <a:r>
              <a:rPr lang="en-GB" b="1" dirty="0">
                <a:solidFill>
                  <a:srgbClr val="000000"/>
                </a:solidFill>
              </a:rPr>
              <a:t>7m impressions, 1m unique viewers, </a:t>
            </a:r>
            <a:r>
              <a:rPr lang="en-GB" b="1" dirty="0" smtClean="0">
                <a:solidFill>
                  <a:srgbClr val="000000"/>
                </a:solidFill>
              </a:rPr>
              <a:t>39k </a:t>
            </a:r>
            <a:r>
              <a:rPr lang="en-GB" b="1" dirty="0">
                <a:solidFill>
                  <a:srgbClr val="000000"/>
                </a:solidFill>
              </a:rPr>
              <a:t>go to HCP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6169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3720" y="1196752"/>
            <a:ext cx="2520280" cy="1209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AutoShape 9"/>
          <p:cNvSpPr txBox="1">
            <a:spLocks noChangeArrowheads="1"/>
          </p:cNvSpPr>
          <p:nvPr/>
        </p:nvSpPr>
        <p:spPr bwMode="auto">
          <a:xfrm>
            <a:off x="179512" y="150719"/>
            <a:ext cx="8784976" cy="867930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A Novel Approach to Promoting the campaign </a:t>
            </a:r>
            <a:r>
              <a:rPr lang="en-US" sz="28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BEFORE </a:t>
            </a:r>
            <a:r>
              <a:rPr lang="en-US" sz="2800" b="1" kern="0" dirty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it launches </a:t>
            </a:r>
            <a:endParaRPr lang="en-US" sz="2800" b="1" kern="0" dirty="0">
              <a:solidFill>
                <a:srgbClr val="FF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05449" y="1268760"/>
            <a:ext cx="6526792" cy="936104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dirty="0">
                <a:solidFill>
                  <a:srgbClr val="FFFFFF"/>
                </a:solidFill>
              </a:rPr>
              <a:t>A Thunderclap on 23</a:t>
            </a:r>
            <a:r>
              <a:rPr lang="en-GB" sz="2800" b="1" baseline="30000" dirty="0">
                <a:solidFill>
                  <a:srgbClr val="FFFFFF"/>
                </a:solidFill>
              </a:rPr>
              <a:t>rd</a:t>
            </a:r>
            <a:r>
              <a:rPr lang="en-GB" sz="2800" b="1" dirty="0">
                <a:solidFill>
                  <a:srgbClr val="FFFFFF"/>
                </a:solidFill>
              </a:rPr>
              <a:t> March to launch the campaign</a:t>
            </a:r>
          </a:p>
        </p:txBody>
      </p:sp>
      <p:pic>
        <p:nvPicPr>
          <p:cNvPr id="6145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9" y="4437112"/>
            <a:ext cx="5688632" cy="2304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205449" y="2464826"/>
            <a:ext cx="8759039" cy="1828269"/>
          </a:xfrm>
          <a:prstGeom prst="round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FFFFFF"/>
                </a:solidFill>
              </a:rPr>
              <a:t>Borrowing social media profiles of supporters at the specified time and da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rgbClr val="FFFFFF"/>
                </a:solidFill>
              </a:rPr>
              <a:t>Rallying support through social media BEFORE the campaign to shout out a smoking cessation and campaign awareness message, timed to hit the launch of the YouTube campaign</a:t>
            </a: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  <a:p>
            <a:pPr algn="ctr"/>
            <a:endParaRPr lang="en-GB" sz="2000" b="1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24328" y="6167045"/>
            <a:ext cx="16196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</a:t>
            </a:r>
          </a:p>
          <a:p>
            <a:r>
              <a:rPr lang="en-GB" sz="1200" dirty="0" smtClean="0">
                <a:solidFill>
                  <a:schemeClr val="bg1"/>
                </a:solidFill>
              </a:rPr>
              <a:t>Date of preparation</a:t>
            </a:r>
          </a:p>
          <a:p>
            <a:r>
              <a:rPr lang="en-GB" sz="1200" dirty="0" smtClean="0">
                <a:solidFill>
                  <a:schemeClr val="bg1"/>
                </a:solidFill>
              </a:rPr>
              <a:t>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29510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9"/>
          <p:cNvSpPr txBox="1">
            <a:spLocks noChangeArrowheads="1"/>
          </p:cNvSpPr>
          <p:nvPr/>
        </p:nvSpPr>
        <p:spPr bwMode="auto">
          <a:xfrm>
            <a:off x="179512" y="344618"/>
            <a:ext cx="8784976" cy="480131"/>
          </a:xfrm>
          <a:prstGeom prst="rect">
            <a:avLst/>
          </a:prstGeom>
          <a:noFill/>
          <a:ln w="38100" algn="ctr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45720" tIns="45720" rIns="45720" bIns="45720" numCol="1" anchor="ctr" anchorCtr="1" compatLnSpc="1">
            <a:prstTxWarp prst="textNoShape">
              <a:avLst/>
            </a:prstTxWarp>
            <a:spAutoFit/>
          </a:bodyPr>
          <a:lstStyle>
            <a:lvl1pPr marL="168275" indent="-168275" algn="l" defTabSz="815975" rtl="0" eaLnBrk="0" fontAlgn="base" hangingPunct="0">
              <a:lnSpc>
                <a:spcPct val="90000"/>
              </a:lnSpc>
              <a:spcBef>
                <a:spcPct val="75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6075" indent="-109538" algn="l" defTabSz="815975" rtl="0" eaLnBrk="0" fontAlgn="base" hangingPunct="0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‐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1500" indent="-169863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46125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­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indent="-115888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17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589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61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73375" indent="-203200" algn="l" defTabSz="815975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40000"/>
              </a:spcAft>
              <a:buClr>
                <a:srgbClr val="008B82"/>
              </a:buClr>
              <a:buSzPct val="80000"/>
              <a:buFont typeface="Arial" pitchFamily="34" charset="0"/>
              <a:buNone/>
              <a:defRPr/>
            </a:pPr>
            <a:r>
              <a:rPr lang="en-US" sz="28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MS PGothic" pitchFamily="34" charset="-128"/>
              </a:rPr>
              <a:t>THE </a:t>
            </a:r>
            <a:r>
              <a:rPr lang="en-US" sz="2800" b="1" kern="0" dirty="0" smtClean="0">
                <a:solidFill>
                  <a:srgbClr val="FF0000"/>
                </a:solidFill>
                <a:latin typeface="Calibri" panose="020F0502020204030204" pitchFamily="34" charset="0"/>
                <a:ea typeface="MS PGothic" pitchFamily="34" charset="-128"/>
              </a:rPr>
              <a:t>VIDEOS</a:t>
            </a:r>
            <a:endParaRPr lang="en-US" sz="2800" b="1" kern="0" dirty="0">
              <a:solidFill>
                <a:srgbClr val="FF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628800"/>
            <a:ext cx="3225894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9595" y="1628801"/>
            <a:ext cx="3158790" cy="223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15616" y="5291916"/>
            <a:ext cx="6912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hlinkClick r:id="rId5"/>
              </a:rPr>
              <a:t>www.youtube.com/pfizeruk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8" name="Rounded Rectangle 7"/>
          <p:cNvSpPr/>
          <p:nvPr/>
        </p:nvSpPr>
        <p:spPr>
          <a:xfrm>
            <a:off x="827584" y="4005064"/>
            <a:ext cx="3225894" cy="64807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rgbClr val="FFFFFF"/>
                </a:solidFill>
              </a:rPr>
              <a:t>Steven Bridges #</a:t>
            </a:r>
            <a:r>
              <a:rPr lang="en-GB" sz="2000" b="1" dirty="0" err="1" smtClean="0">
                <a:solidFill>
                  <a:srgbClr val="FFFFFF"/>
                </a:solidFill>
              </a:rPr>
              <a:t>quitwithhelp</a:t>
            </a:r>
            <a:endParaRPr lang="en-GB" sz="2000" b="1" dirty="0">
              <a:solidFill>
                <a:srgbClr val="FFFFFF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874498" y="4005064"/>
            <a:ext cx="3225894" cy="648072"/>
          </a:xfrm>
          <a:prstGeom prst="round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b="1" dirty="0" smtClean="0">
                <a:solidFill>
                  <a:srgbClr val="FFFFFF"/>
                </a:solidFill>
              </a:rPr>
              <a:t>F2Freestylers #</a:t>
            </a:r>
            <a:r>
              <a:rPr lang="en-GB" sz="2000" b="1" dirty="0" err="1" smtClean="0">
                <a:solidFill>
                  <a:srgbClr val="FFFFFF"/>
                </a:solidFill>
              </a:rPr>
              <a:t>quitwithhelp</a:t>
            </a:r>
            <a:endParaRPr lang="en-GB" sz="2000" b="1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52120" y="6309320"/>
            <a:ext cx="33123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chemeClr val="bg1"/>
                </a:solidFill>
              </a:rPr>
              <a:t>SCE1541 Date of preparation May 2015</a:t>
            </a: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242766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MYLFFFUC6xdkvHF7_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MYLFFFUC6xdkvHF7_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1MYLFFFUC6xdkvHF7_VQ"/>
</p:tagLst>
</file>

<file path=ppt/theme/theme1.xml><?xml version="1.0" encoding="utf-8"?>
<a:theme xmlns:a="http://schemas.openxmlformats.org/drawingml/2006/main" name="1_Default Design">
  <a:themeElements>
    <a:clrScheme name="Custom 54">
      <a:dk1>
        <a:srgbClr val="000000"/>
      </a:dk1>
      <a:lt1>
        <a:srgbClr val="FFFFFF"/>
      </a:lt1>
      <a:dk2>
        <a:srgbClr val="FFFFFF"/>
      </a:dk2>
      <a:lt2>
        <a:srgbClr val="616365"/>
      </a:lt2>
      <a:accent1>
        <a:srgbClr val="008B82"/>
      </a:accent1>
      <a:accent2>
        <a:srgbClr val="4B2160"/>
      </a:accent2>
      <a:accent3>
        <a:srgbClr val="F8D700"/>
      </a:accent3>
      <a:accent4>
        <a:srgbClr val="7CBC32"/>
      </a:accent4>
      <a:accent5>
        <a:srgbClr val="F5962C"/>
      </a:accent5>
      <a:accent6>
        <a:srgbClr val="00ACF1"/>
      </a:accent6>
      <a:hlink>
        <a:srgbClr val="003366"/>
      </a:hlink>
      <a:folHlink>
        <a:srgbClr val="FFCC00"/>
      </a:folHlink>
    </a:clrScheme>
    <a:fontScheme name="Default Design">
      <a:majorFont>
        <a:latin typeface="Arial"/>
        <a:ea typeface="ヒラギノ角ゴ Pro W3"/>
        <a:cs typeface="Arial"/>
      </a:majorFont>
      <a:minorFont>
        <a:latin typeface="Arial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93C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C8E4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Custom 54">
      <a:dk1>
        <a:srgbClr val="000000"/>
      </a:dk1>
      <a:lt1>
        <a:srgbClr val="FFFFFF"/>
      </a:lt1>
      <a:dk2>
        <a:srgbClr val="FFFFFF"/>
      </a:dk2>
      <a:lt2>
        <a:srgbClr val="616365"/>
      </a:lt2>
      <a:accent1>
        <a:srgbClr val="008B82"/>
      </a:accent1>
      <a:accent2>
        <a:srgbClr val="4B2160"/>
      </a:accent2>
      <a:accent3>
        <a:srgbClr val="F8D700"/>
      </a:accent3>
      <a:accent4>
        <a:srgbClr val="7CBC32"/>
      </a:accent4>
      <a:accent5>
        <a:srgbClr val="F5962C"/>
      </a:accent5>
      <a:accent6>
        <a:srgbClr val="00ACF1"/>
      </a:accent6>
      <a:hlink>
        <a:srgbClr val="003366"/>
      </a:hlink>
      <a:folHlink>
        <a:srgbClr val="FFCC00"/>
      </a:folHlink>
    </a:clrScheme>
    <a:fontScheme name="Default Design">
      <a:majorFont>
        <a:latin typeface="Arial"/>
        <a:ea typeface="ヒラギノ角ゴ Pro W3"/>
        <a:cs typeface="Arial"/>
      </a:majorFont>
      <a:minorFont>
        <a:latin typeface="Arial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93C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C8E4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Custom 54">
      <a:dk1>
        <a:srgbClr val="000000"/>
      </a:dk1>
      <a:lt1>
        <a:srgbClr val="FFFFFF"/>
      </a:lt1>
      <a:dk2>
        <a:srgbClr val="FFFFFF"/>
      </a:dk2>
      <a:lt2>
        <a:srgbClr val="616365"/>
      </a:lt2>
      <a:accent1>
        <a:srgbClr val="008B82"/>
      </a:accent1>
      <a:accent2>
        <a:srgbClr val="4B2160"/>
      </a:accent2>
      <a:accent3>
        <a:srgbClr val="F8D700"/>
      </a:accent3>
      <a:accent4>
        <a:srgbClr val="7CBC32"/>
      </a:accent4>
      <a:accent5>
        <a:srgbClr val="F5962C"/>
      </a:accent5>
      <a:accent6>
        <a:srgbClr val="00ACF1"/>
      </a:accent6>
      <a:hlink>
        <a:srgbClr val="003366"/>
      </a:hlink>
      <a:folHlink>
        <a:srgbClr val="FFCC00"/>
      </a:folHlink>
    </a:clrScheme>
    <a:fontScheme name="Default Design">
      <a:majorFont>
        <a:latin typeface="Arial"/>
        <a:ea typeface="ヒラギノ角ゴ Pro W3"/>
        <a:cs typeface="Arial"/>
      </a:majorFont>
      <a:minorFont>
        <a:latin typeface="Arial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ADE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D3F6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FFFFFF"/>
        </a:dk2>
        <a:lt2>
          <a:srgbClr val="616365"/>
        </a:lt2>
        <a:accent1>
          <a:srgbClr val="0093CF"/>
        </a:accent1>
        <a:accent2>
          <a:srgbClr val="8DC73F"/>
        </a:accent2>
        <a:accent3>
          <a:srgbClr val="FFFFFF"/>
        </a:accent3>
        <a:accent4>
          <a:srgbClr val="000000"/>
        </a:accent4>
        <a:accent5>
          <a:srgbClr val="AAC8E4"/>
        </a:accent5>
        <a:accent6>
          <a:srgbClr val="7FB438"/>
        </a:accent6>
        <a:hlink>
          <a:srgbClr val="0033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</TotalTime>
  <Words>708</Words>
  <Application>Microsoft Macintosh PowerPoint</Application>
  <PresentationFormat>On-screen Show (4:3)</PresentationFormat>
  <Paragraphs>102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1_Default Design</vt:lpstr>
      <vt:lpstr>2_Default Design</vt:lpstr>
      <vt:lpstr>3_Default Design</vt:lpstr>
      <vt:lpstr>think-cell Slide</vt:lpstr>
      <vt:lpstr>  Smoking cessation disease awareness through digital interactive services and social media interventions </vt:lpstr>
      <vt:lpstr>PowerPoint Presentation</vt:lpstr>
      <vt:lpstr>People who are trying to quit smoking are searching for information online to help them  </vt:lpstr>
      <vt:lpstr>Visual interaction increases engagement and tru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fizer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fsunderls</dc:creator>
  <cp:lastModifiedBy>Monique Tomlinson</cp:lastModifiedBy>
  <cp:revision>13</cp:revision>
  <dcterms:created xsi:type="dcterms:W3CDTF">2015-05-05T12:42:01Z</dcterms:created>
  <dcterms:modified xsi:type="dcterms:W3CDTF">2015-05-28T07:38:39Z</dcterms:modified>
</cp:coreProperties>
</file>